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110" d="100"/>
          <a:sy n="110" d="100"/>
        </p:scale>
        <p:origin x="792" y="96"/>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59199999999999997</c:v>
                </c:pt>
                <c:pt idx="1">
                  <c:v>0.44600000000000001</c:v>
                </c:pt>
                <c:pt idx="2">
                  <c:v>0.47899999999999998</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1.8149999999999999</c:v>
                </c:pt>
                <c:pt idx="1">
                  <c:v>1.804</c:v>
                </c:pt>
                <c:pt idx="2">
                  <c:v>1.6439999999999999</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55300000000000005</c:v>
                </c:pt>
                <c:pt idx="1">
                  <c:v>0.48699999999999999</c:v>
                </c:pt>
                <c:pt idx="2">
                  <c:v>0.626</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0.86099999999999999</c:v>
                </c:pt>
                <c:pt idx="1">
                  <c:v>0.54600000000000004</c:v>
                </c:pt>
                <c:pt idx="2">
                  <c:v>0.65200000000000002</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4.4470000000000001</c:v>
                </c:pt>
                <c:pt idx="1">
                  <c:v>4.5590000000000002</c:v>
                </c:pt>
                <c:pt idx="2">
                  <c:v>4.4379999999999997</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1.1919999999999999</c:v>
                </c:pt>
                <c:pt idx="1">
                  <c:v>1.5940000000000001</c:v>
                </c:pt>
                <c:pt idx="2">
                  <c:v>2.3639999999999999</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9.4600000000000009</c:v>
                </c:pt>
                <c:pt idx="1">
                  <c:v>9.4359999999999999</c:v>
                </c:pt>
                <c:pt idx="2">
                  <c:v>10.202999999999999</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1128781E-D3F3-4A6E-AEE2-64D2129BA91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8FCFFA44-818D-4314-AFB5-DEDD5050A7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68A27C3A-D0A8-4160-BB0D-E4FA9103694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EAA266D2-1107-4B40-AA76-CA01265EDBE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64466D2C-811F-40A7-9ADC-89DA2D492C1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5A08498F-69C4-4DE0-A6FD-B280482E6C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762F1BFE-6935-4E5A-B387-AE66D691174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C94EB874-2606-4161-9BBA-C2630587C1C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155E34F6-CC27-4F0B-919A-CFEEFE0B64F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234BD442-4781-4FA4-AE31-D4C5746B64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8BA8EB65-8478-42C9-94C3-47D2860EA43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D2D9F6D9-E7A8-48B0-84CB-5F30F0AEC20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7B85E3EC-55CC-4428-874D-AFCFC7C18C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CE5BF9EF-CF5E-446E-9B7E-A5F96746F4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76C5AA25-A9C2-4950-8BA3-74495EA4401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4C5B9D0C-3B68-4679-AAC3-C1F0D53C17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CD9AED2F-E388-4B70-BE0B-01DD707BFC2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56A054DE-DE6F-4178-9403-7D3D6EB171B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Landbouw, bosbouw en visserij</c:v>
                </c:pt>
                <c:pt idx="1">
                  <c:v>Handel</c:v>
                </c:pt>
                <c:pt idx="2">
                  <c:v>Gezondheids- en welzijnszorg</c:v>
                </c:pt>
                <c:pt idx="3">
                  <c:v>Horeca</c:v>
                </c:pt>
                <c:pt idx="4">
                  <c:v>Bouwnijverheid</c:v>
                </c:pt>
                <c:pt idx="5">
                  <c:v>Financiële dienstverlening</c:v>
                </c:pt>
                <c:pt idx="6">
                  <c:v>Specialistische zakelijke diensten</c:v>
                </c:pt>
                <c:pt idx="7">
                  <c:v>Openbaar bestuur en overheidsdiensten</c:v>
                </c:pt>
                <c:pt idx="8">
                  <c:v>Onderwijs</c:v>
                </c:pt>
                <c:pt idx="9">
                  <c:v>Waterbedrijven en afvalbeheer</c:v>
                </c:pt>
                <c:pt idx="10">
                  <c:v>Vervoer en opslag</c:v>
                </c:pt>
                <c:pt idx="11">
                  <c:v>Informatie en communicatie</c:v>
                </c:pt>
                <c:pt idx="12">
                  <c:v>Verhuur en handel van onroerend goed</c:v>
                </c:pt>
                <c:pt idx="13">
                  <c:v>Verhuur en overige zakelijke diensten</c:v>
                </c:pt>
                <c:pt idx="14">
                  <c:v>Cultuur, sport en recreatie</c:v>
                </c:pt>
                <c:pt idx="15">
                  <c:v>Overige dienstverlening</c:v>
                </c:pt>
                <c:pt idx="16">
                  <c:v>Delfstoffenwinning</c:v>
                </c:pt>
                <c:pt idx="17">
                  <c:v>Industrie</c:v>
                </c:pt>
                <c:pt idx="18">
                  <c:v>Energievoorziening</c:v>
                </c:pt>
              </c:strCache>
            </c:strRef>
          </c:cat>
          <c:val>
            <c:numRef>
              <c:f>Sheet1!$B$2:$B$20</c:f>
              <c:numCache>
                <c:formatCode>General</c:formatCode>
                <c:ptCount val="19"/>
                <c:pt idx="0">
                  <c:v>0.4</c:v>
                </c:pt>
                <c:pt idx="1">
                  <c:v>0.4</c:v>
                </c:pt>
                <c:pt idx="2">
                  <c:v>0.4</c:v>
                </c:pt>
                <c:pt idx="3">
                  <c:v>0.3</c:v>
                </c:pt>
                <c:pt idx="4">
                  <c:v>0.2</c:v>
                </c:pt>
                <c:pt idx="5">
                  <c:v>0.1</c:v>
                </c:pt>
                <c:pt idx="6">
                  <c:v>0.1</c:v>
                </c:pt>
                <c:pt idx="7">
                  <c:v>0.1</c:v>
                </c:pt>
                <c:pt idx="8">
                  <c:v>0.1</c:v>
                </c:pt>
                <c:pt idx="9">
                  <c:v>0</c:v>
                </c:pt>
                <c:pt idx="10">
                  <c:v>0</c:v>
                </c:pt>
                <c:pt idx="11">
                  <c:v>0</c:v>
                </c:pt>
                <c:pt idx="12">
                  <c:v>0</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0,4</c:v>
                  </c:pt>
                  <c:pt idx="1">
                    <c:v>0,4</c:v>
                  </c:pt>
                  <c:pt idx="2">
                    <c:v>0,4</c:v>
                  </c:pt>
                  <c:pt idx="3">
                    <c:v>0,3</c:v>
                  </c:pt>
                  <c:pt idx="4">
                    <c:v>0,2</c:v>
                  </c:pt>
                  <c:pt idx="5">
                    <c:v>0,1</c:v>
                  </c:pt>
                  <c:pt idx="6">
                    <c:v>0,1</c:v>
                  </c:pt>
                  <c:pt idx="7">
                    <c:v>0,1</c:v>
                  </c:pt>
                  <c:pt idx="8">
                    <c:v>0,1</c:v>
                  </c:pt>
                  <c:pt idx="9">
                    <c:v>0</c:v>
                  </c:pt>
                  <c:pt idx="10">
                    <c:v>0</c:v>
                  </c:pt>
                  <c:pt idx="11">
                    <c:v>0</c:v>
                  </c:pt>
                  <c:pt idx="12">
                    <c:v>0</c:v>
                  </c:pt>
                  <c:pt idx="13">
                    <c:v>0</c:v>
                  </c:pt>
                  <c:pt idx="14">
                    <c:v>0</c:v>
                  </c:pt>
                  <c:pt idx="15">
                    <c:v>0</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ED778C7F-C4AC-43A4-8E5B-B8FC2FA7021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4B90419C-FE04-4E29-A610-DFDB3DCEE2B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C1C93FB3-9AD1-4644-A35B-52060EA9C85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BA6C20A7-AF47-4DE1-B0BA-AC7ED6B485B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7FE98D84-C49D-434F-A23B-77DDE8FE598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9C59D666-9AAC-4CD9-9570-8E001D97587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34067594-17CF-469A-A5D5-5EA153E930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BE8EF3B9-2012-4AEE-A7A2-6D183A66E01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2E2486C1-1847-49BF-801E-F3D1613BB43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A428D588-5FC0-40D5-BFC4-DE1269C094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50BD0ABB-A42F-4250-848B-36975BDEC82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A11566C8-E818-44B6-9A91-34D0B6EC700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AAEE6B5A-0B14-4A02-81AF-C24F4B0CC7F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82913817-EB5D-4585-8117-2362CBEC76E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ABE3A57B-68CB-4C74-84E1-C6A7EAFE67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938A6150-460F-4240-B273-736B0245C5E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8A037B81-A7B2-4E43-9A89-236C1795B3F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93926486-34CD-4B50-BCE7-EEA8C8F458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2</c:v>
                </c:pt>
                <c:pt idx="1">
                  <c:v>-9.9999999999999978E-2</c:v>
                </c:pt>
                <c:pt idx="2">
                  <c:v>0.10000000000000003</c:v>
                </c:pt>
                <c:pt idx="3">
                  <c:v>9.9999999999999978E-2</c:v>
                </c:pt>
                <c:pt idx="4">
                  <c:v>0.1</c:v>
                </c:pt>
                <c:pt idx="5">
                  <c:v>0.1</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2</c:v>
                  </c:pt>
                  <c:pt idx="1">
                    <c:v>-0,1</c:v>
                  </c:pt>
                  <c:pt idx="2">
                    <c:v>0,1</c:v>
                  </c:pt>
                  <c:pt idx="3">
                    <c:v>0,1</c:v>
                  </c:pt>
                  <c:pt idx="4">
                    <c:v>0,1</c:v>
                  </c:pt>
                  <c:pt idx="5">
                    <c:v>0,1</c:v>
                  </c:pt>
                  <c:pt idx="6">
                    <c:v>0</c:v>
                  </c:pt>
                  <c:pt idx="7">
                    <c:v>-</c:v>
                  </c:pt>
                  <c:pt idx="8">
                    <c:v>-</c:v>
                  </c:pt>
                  <c:pt idx="9">
                    <c:v>0</c:v>
                  </c:pt>
                  <c:pt idx="10">
                    <c:v>0</c:v>
                  </c:pt>
                  <c:pt idx="11">
                    <c:v>0</c:v>
                  </c:pt>
                  <c:pt idx="12">
                    <c:v>0</c:v>
                  </c:pt>
                  <c:pt idx="13">
                    <c:v>0</c:v>
                  </c:pt>
                  <c:pt idx="14">
                    <c:v>0</c:v>
                  </c:pt>
                  <c:pt idx="15">
                    <c:v>0</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0880589E-7A89-4127-9132-23E5343A65C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4ED071B1-9AD5-440B-8995-198DED6BF1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49203826-12AC-4FFB-9869-394668A8B5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571D9F9B-3344-4E0E-AC98-B0F3CA9B47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67AD24F8-4AD7-45C9-8BF7-12475F01CBD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ACF20A29-42A1-4311-B07B-F1435D6A8B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BEA46EBD-0AD9-435F-9380-8D14C2D807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E2A56425-F015-4029-9615-C14BD2E901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52470CA6-390A-4019-B9E5-EEF3F133024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70830AE9-44E5-4291-BB2E-EBBBDD0A42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6E30A0D8-D1C9-4462-8E4E-DDC193C97C1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5CAC19DF-96A7-427E-A5E4-87B1CE306F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CFA24609-F98F-4402-A3DC-1F8BFC3C9C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EB6E9455-64B0-4751-A2DF-7041429DA08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1D7B1C39-E349-4EE4-864F-E3DA425A3BF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F34589D7-ADFC-4888-B02D-0C53BBE611C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2A8344BD-E827-4C35-8126-F14EF61B45F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FF279FF6-D7E3-4024-A983-B399791DD33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14.815476963051344</c:v>
                </c:pt>
                <c:pt idx="1">
                  <c:v>0.14643582569823077</c:v>
                </c:pt>
                <c:pt idx="2">
                  <c:v>0.14724243642481771</c:v>
                </c:pt>
                <c:pt idx="3">
                  <c:v>1.8074650049769168</c:v>
                </c:pt>
                <c:pt idx="4">
                  <c:v>1.4497831654005311</c:v>
                </c:pt>
                <c:pt idx="5">
                  <c:v>0.51540490231467806</c:v>
                </c:pt>
                <c:pt idx="6">
                  <c:v>-0.23918641522462036</c:v>
                </c:pt>
                <c:pt idx="7">
                  <c:v>-0.23288686728895669</c:v>
                </c:pt>
                <c:pt idx="8">
                  <c:v>-0.24622056449214424</c:v>
                </c:pt>
                <c:pt idx="9">
                  <c:v>-1</c:v>
                </c:pt>
                <c:pt idx="10">
                  <c:v>-1</c:v>
                </c:pt>
                <c:pt idx="11">
                  <c:v>-1</c:v>
                </c:pt>
                <c:pt idx="12">
                  <c:v>-1</c:v>
                </c:pt>
                <c:pt idx="13">
                  <c:v>-1</c:v>
                </c:pt>
                <c:pt idx="14">
                  <c:v>-1</c:v>
                </c:pt>
                <c:pt idx="15">
                  <c:v>-1</c:v>
                </c:pt>
                <c:pt idx="16">
                  <c:v>0</c:v>
                </c:pt>
                <c:pt idx="17">
                  <c:v>0</c:v>
                </c:pt>
                <c:pt idx="18">
                  <c:v>0</c:v>
                </c:pt>
              </c:numCache>
            </c:numRef>
          </c:val>
          <c:extLst>
            <c:ext xmlns:c15="http://schemas.microsoft.com/office/drawing/2012/chart" uri="{02D57815-91ED-43cb-92C2-25804820EDAC}">
              <c15:datalabelsRange>
                <c15:f>Sheet1!$B$2:$B$20</c15:f>
                <c15:dlblRangeCache>
                  <c:ptCount val="19"/>
                  <c:pt idx="0">
                    <c:v>+1482%</c:v>
                  </c:pt>
                  <c:pt idx="1">
                    <c:v>+15%</c:v>
                  </c:pt>
                  <c:pt idx="2">
                    <c:v>+15%</c:v>
                  </c:pt>
                  <c:pt idx="3">
                    <c:v>+181%</c:v>
                  </c:pt>
                  <c:pt idx="4">
                    <c:v>+145%</c:v>
                  </c:pt>
                  <c:pt idx="5">
                    <c:v>+52%</c:v>
                  </c:pt>
                  <c:pt idx="6">
                    <c:v>-24%</c:v>
                  </c:pt>
                  <c:pt idx="7">
                    <c:v>-23%</c:v>
                  </c:pt>
                  <c:pt idx="8">
                    <c:v>-25%</c:v>
                  </c:pt>
                  <c:pt idx="9">
                    <c:v>-100%</c:v>
                  </c:pt>
                  <c:pt idx="10">
                    <c:v>-100%</c:v>
                  </c:pt>
                  <c:pt idx="11">
                    <c:v>-100%</c:v>
                  </c:pt>
                  <c:pt idx="12">
                    <c:v>-100%</c:v>
                  </c:pt>
                  <c:pt idx="13">
                    <c:v>-100%</c:v>
                  </c:pt>
                  <c:pt idx="14">
                    <c:v>-100%</c:v>
                  </c:pt>
                  <c:pt idx="15">
                    <c:v>-100%</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7142857142857143</c:v>
                </c:pt>
                <c:pt idx="1">
                  <c:v>0.625</c:v>
                </c:pt>
                <c:pt idx="2">
                  <c:v>0.625</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3000001907348632E-2</c:v>
                </c:pt>
                <c:pt idx="1">
                  <c:v>4.4000000953674318E-2</c:v>
                </c:pt>
                <c:pt idx="2">
                  <c:v>2.5000000000000001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85821263178639</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9917012448132779</c:v>
                </c:pt>
                <c:pt idx="1">
                  <c:v>0.20959290608625555</c:v>
                </c:pt>
                <c:pt idx="2">
                  <c:v>0.21085821263178639</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85821263178639</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2.5933609958506226E-2</c:v>
                </c:pt>
                <c:pt idx="1">
                  <c:v>2.720677146311971E-2</c:v>
                </c:pt>
                <c:pt idx="2">
                  <c:v>2.5618287516011428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85821263178639</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7.261410788381743E-3</c:v>
                </c:pt>
                <c:pt idx="1">
                  <c:v>1.2091898428053204E-2</c:v>
                </c:pt>
                <c:pt idx="2">
                  <c:v>9.8531875061582414E-3</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85821263178639</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3</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7</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3</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8000000000000003</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5357142857142857</c:v>
                </c:pt>
                <c:pt idx="2">
                  <c:v>0.5357142857142857</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63085714285714289</c:v>
                </c:pt>
                <c:pt idx="4" formatCode="0.0%">
                  <c:v>0.63085714285714289</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86616541353383469</c:v>
                </c:pt>
                <c:pt idx="6" formatCode="0.0%">
                  <c:v>0.86616541353383469</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77714285714285725</c:v>
                </c:pt>
                <c:pt idx="8" formatCode="0.0%">
                  <c:v>0.77714285714285725</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74805194805194808</c:v>
                </c:pt>
                <c:pt idx="10" formatCode="0.0%">
                  <c:v>0.74805194805194808</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2937062937062926</c:v>
                </c:pt>
                <c:pt idx="26">
                  <c:v>0.6293706293706292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61538461538461542</c:v>
                </c:pt>
                <c:pt idx="28">
                  <c:v>0.61538461538461542</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0033444816053509</c:v>
                </c:pt>
                <c:pt idx="30">
                  <c:v>1.0033444816053509</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2869822485207099</c:v>
                </c:pt>
                <c:pt idx="32">
                  <c:v>1.2869822485207099</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6420118343195265</c:v>
                </c:pt>
                <c:pt idx="34">
                  <c:v>1.6420118343195265</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3103448275862073</c:v>
                </c:pt>
                <c:pt idx="38">
                  <c:v>1.3103448275862073</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3103448275862071</c:v>
                </c:pt>
                <c:pt idx="40">
                  <c:v>1.3103448275862071</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448275862068967</c:v>
                </c:pt>
                <c:pt idx="42">
                  <c:v>1.2448275862068967</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2533733133433285</c:v>
                </c:pt>
                <c:pt idx="44">
                  <c:v>1.2533733133433285</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4507389162561575</c:v>
                </c:pt>
                <c:pt idx="46">
                  <c:v>1.4507389162561575</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59199999999999997</c:v>
                </c:pt>
                <c:pt idx="1">
                  <c:v>0.44600000000000001</c:v>
                </c:pt>
                <c:pt idx="2">
                  <c:v>0.47899999999999998</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1.8149999999999999</c:v>
                </c:pt>
                <c:pt idx="1">
                  <c:v>1.804</c:v>
                </c:pt>
                <c:pt idx="2">
                  <c:v>1.6439999999999999</c:v>
                </c:pt>
                <c:pt idx="3">
                  <c:v>1.7999999523162842</c:v>
                </c:pt>
                <c:pt idx="4">
                  <c:v>1.7999999523162842</c:v>
                </c:pt>
                <c:pt idx="5">
                  <c:v>1.7999999523162842</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55300000000000005</c:v>
                </c:pt>
                <c:pt idx="1">
                  <c:v>0.48699999999999999</c:v>
                </c:pt>
                <c:pt idx="2">
                  <c:v>0.626</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0.86099999999999999</c:v>
                </c:pt>
                <c:pt idx="1">
                  <c:v>0.54600000000000004</c:v>
                </c:pt>
                <c:pt idx="2">
                  <c:v>0.65200000000000002</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4.4470000000000001</c:v>
                </c:pt>
                <c:pt idx="1">
                  <c:v>4.5590000000000002</c:v>
                </c:pt>
                <c:pt idx="2">
                  <c:v>4.4379999999999997</c:v>
                </c:pt>
                <c:pt idx="3">
                  <c:v>5.0999999046325684</c:v>
                </c:pt>
                <c:pt idx="4">
                  <c:v>4.6999998092651367</c:v>
                </c:pt>
                <c:pt idx="5">
                  <c:v>4.699999809265136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1.1919999999999999</c:v>
                </c:pt>
                <c:pt idx="1">
                  <c:v>1.5940000000000001</c:v>
                </c:pt>
                <c:pt idx="2">
                  <c:v>2.3639999999999999</c:v>
                </c:pt>
                <c:pt idx="3">
                  <c:v>3.0999999046325684</c:v>
                </c:pt>
                <c:pt idx="4">
                  <c:v>3.4000000953674316</c:v>
                </c:pt>
                <c:pt idx="5">
                  <c:v>3.2000000476837158</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9.4600000000000009</c:v>
                </c:pt>
                <c:pt idx="1">
                  <c:v>9.4359999999999999</c:v>
                </c:pt>
                <c:pt idx="2">
                  <c:v>10.202999999999999</c:v>
                </c:pt>
                <c:pt idx="3">
                  <c:v>9.9999997615814209</c:v>
                </c:pt>
                <c:pt idx="4">
                  <c:v>9.8999998569488525</c:v>
                </c:pt>
                <c:pt idx="5">
                  <c:v>9.6999998092651367</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76046671242278652</c:v>
                </c:pt>
                <c:pt idx="1">
                  <c:v>0.13498055364905057</c:v>
                </c:pt>
                <c:pt idx="2">
                  <c:v>0.1020361473347060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512000</c:v>
                </c:pt>
                <c:pt idx="1">
                  <c:v>439000</c:v>
                </c:pt>
                <c:pt idx="2">
                  <c:v>47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70</c:v>
                </c:pt>
                <c:pt idx="1">
                  <c:v>200</c:v>
                </c:pt>
                <c:pt idx="2">
                  <c:v>115</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65</c:v>
                </c:pt>
                <c:pt idx="1">
                  <c:v>210</c:v>
                </c:pt>
                <c:pt idx="2">
                  <c:v>160</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90</c:v>
                </c:pt>
                <c:pt idx="1">
                  <c:v>240</c:v>
                </c:pt>
                <c:pt idx="2">
                  <c:v>255</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16666666666666666</c:v>
                </c:pt>
                <c:pt idx="1">
                  <c:v>0</c:v>
                </c:pt>
                <c:pt idx="2">
                  <c:v>7.6923076923076927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6666666666666666</c:v>
                </c:pt>
                <c:pt idx="1">
                  <c:v>0</c:v>
                </c:pt>
                <c:pt idx="2">
                  <c:v>5.7692307692307696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2222222222222221</c:v>
                </c:pt>
                <c:pt idx="1">
                  <c:v>4.3478260869565216E-2</c:v>
                </c:pt>
                <c:pt idx="2">
                  <c:v>7.6923076923076927E-2</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6666666666666666</c:v>
                </c:pt>
                <c:pt idx="1">
                  <c:v>0.17391304347826086</c:v>
                </c:pt>
                <c:pt idx="2">
                  <c:v>0.19230769230769232</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27777777777777779</c:v>
                </c:pt>
                <c:pt idx="1">
                  <c:v>0.78260869565217395</c:v>
                </c:pt>
                <c:pt idx="2">
                  <c:v>0.59615384615384615</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8.3000000000000004E-2</c:v>
                </c:pt>
                <c:pt idx="1">
                  <c:v>1.3000000000000001E-2</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140</c:v>
                </c:pt>
                <c:pt idx="1">
                  <c:v>150</c:v>
                </c:pt>
                <c:pt idx="2">
                  <c:v>160</c:v>
                </c:pt>
                <c:pt idx="3">
                  <c:v>185</c:v>
                </c:pt>
                <c:pt idx="4">
                  <c:v>185</c:v>
                </c:pt>
                <c:pt idx="5">
                  <c:v>165</c:v>
                </c:pt>
                <c:pt idx="6">
                  <c:v>13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15</c:v>
                </c:pt>
                <c:pt idx="1">
                  <c:v>15</c:v>
                </c:pt>
                <c:pt idx="2">
                  <c:v>25</c:v>
                </c:pt>
                <c:pt idx="3">
                  <c:v>25</c:v>
                </c:pt>
                <c:pt idx="4">
                  <c:v>25</c:v>
                </c:pt>
                <c:pt idx="5">
                  <c:v>20</c:v>
                </c:pt>
                <c:pt idx="6">
                  <c:v>1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B$2:$B$3</c:f>
              <c:numCache>
                <c:formatCode>0%</c:formatCode>
                <c:ptCount val="2"/>
                <c:pt idx="0">
                  <c:v>0.10795454545454546</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C$2:$C$3</c:f>
              <c:numCache>
                <c:formatCode>0%</c:formatCode>
                <c:ptCount val="2"/>
                <c:pt idx="0">
                  <c:v>0.3125</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D$2:$D$3</c:f>
              <c:numCache>
                <c:formatCode>0%</c:formatCode>
                <c:ptCount val="2"/>
                <c:pt idx="0">
                  <c:v>0.29545454545454547</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E$2:$E$3</c:f>
              <c:numCache>
                <c:formatCode>0%</c:formatCode>
                <c:ptCount val="2"/>
                <c:pt idx="0">
                  <c:v>0.28409090909090912</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1068077119945401</c:v>
                </c:pt>
                <c:pt idx="1">
                  <c:v>0.371</c:v>
                </c:pt>
                <c:pt idx="2">
                  <c:v>0.38297872880078287</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8085110160548024</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B$2:$B$3</c:f>
              <c:numCache>
                <c:formatCode>0.0%</c:formatCode>
                <c:ptCount val="2"/>
                <c:pt idx="0">
                  <c:v>0.46984698469846986</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C$2:$C$3</c:f>
              <c:numCache>
                <c:formatCode>0.0%</c:formatCode>
                <c:ptCount val="2"/>
                <c:pt idx="0">
                  <c:v>0.23132313231323132</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D$2:$D$3</c:f>
              <c:numCache>
                <c:formatCode>0.0%</c:formatCode>
                <c:ptCount val="2"/>
                <c:pt idx="0">
                  <c:v>0.23132313231323132</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E$2:$E$3</c:f>
              <c:numCache>
                <c:formatCode>0.0%</c:formatCode>
                <c:ptCount val="2"/>
                <c:pt idx="0">
                  <c:v>6.7506750675067506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978E2751-BE94-4157-A4EB-45C9920D079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5105D9B6-02CF-4E3B-84F4-EC7D903DF5C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BB7BDD40-C6C5-42E3-AC7C-D6BCEDFFD4F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BD766F80-DD55-4B33-9957-1263FB871A2C}"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F1CD5B8A-4CF8-4AC6-A15A-FA76478C20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A574EE02-A167-4B29-8DC7-A12174C02843}"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Bedrog</c:v>
                </c:pt>
                <c:pt idx="3">
                  <c:v>Vernieling</c:v>
                </c:pt>
                <c:pt idx="4">
                  <c:v>Gewelds- en 
seksuele misdrijven</c:v>
                </c:pt>
                <c:pt idx="5">
                  <c:v>Valsheidsmisdrijven</c:v>
                </c:pt>
                <c:pt idx="6">
                  <c:v>Overig</c:v>
                </c:pt>
              </c:strCache>
            </c:strRef>
          </c:cat>
          <c:val>
            <c:numRef>
              <c:f>Sheet1!$B$2:$B$8</c:f>
              <c:numCache>
                <c:formatCode>#,##0</c:formatCode>
                <c:ptCount val="7"/>
                <c:pt idx="0">
                  <c:v>115</c:v>
                </c:pt>
                <c:pt idx="1">
                  <c:v>60</c:v>
                </c:pt>
                <c:pt idx="2">
                  <c:v>30</c:v>
                </c:pt>
                <c:pt idx="3">
                  <c:v>30</c:v>
                </c:pt>
                <c:pt idx="4">
                  <c:v>25</c:v>
                </c:pt>
                <c:pt idx="5">
                  <c:v>10</c:v>
                </c:pt>
                <c:pt idx="6">
                  <c:v>10</c:v>
                </c:pt>
              </c:numCache>
            </c:numRef>
          </c:val>
          <c:extLst>
            <c:ext xmlns:c15="http://schemas.microsoft.com/office/drawing/2012/chart" uri="{02D57815-91ED-43cb-92C2-25804820EDAC}">
              <c15:datalabelsRange>
                <c15:f>Sheet1!$B$2:$B$20</c15:f>
                <c15:dlblRangeCache>
                  <c:ptCount val="19"/>
                  <c:pt idx="0">
                    <c:v>115</c:v>
                  </c:pt>
                  <c:pt idx="1">
                    <c:v>60</c:v>
                  </c:pt>
                  <c:pt idx="2">
                    <c:v>30</c:v>
                  </c:pt>
                  <c:pt idx="3">
                    <c:v>30</c:v>
                  </c:pt>
                  <c:pt idx="4">
                    <c:v>25</c:v>
                  </c:pt>
                  <c:pt idx="5">
                    <c:v>10</c:v>
                  </c:pt>
                  <c:pt idx="6">
                    <c:v>10</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A9CFF72-BA7B-4D7D-9133-786F989AFA1F}"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98971FC-7343-42AD-ADF3-4E365A7F4D8F}"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B1A9703-B7ED-4D34-9CBF-4F1D3A16AEC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8253E62C-CE96-44B5-B7C3-B57C7BAAE0D2}"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266F4238-4C94-46A9-9A3A-69DC9CFE324C}"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E9CE365-E943-4946-A718-D0F5F009BE07}"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4766221631557655</c:v>
                </c:pt>
                <c:pt idx="1">
                  <c:v>-0.17227175816750392</c:v>
                </c:pt>
                <c:pt idx="2">
                  <c:v>-4.4777154725185633E-2</c:v>
                </c:pt>
                <c:pt idx="3">
                  <c:v>-0.4994089390955701</c:v>
                </c:pt>
                <c:pt idx="4">
                  <c:v>-0.48842037928561488</c:v>
                </c:pt>
                <c:pt idx="5">
                  <c:v>-0.52770935362365767</c:v>
                </c:pt>
                <c:pt idx="6">
                  <c:v>-0.62154818857430771</c:v>
                </c:pt>
              </c:numCache>
            </c:numRef>
          </c:val>
          <c:extLst>
            <c:ext xmlns:c15="http://schemas.microsoft.com/office/drawing/2012/chart" uri="{02D57815-91ED-43cb-92C2-25804820EDAC}">
              <c15:datalabelsRange>
                <c15:f>Sheet1!$B$2:$B$35</c15:f>
                <c15:dlblRangeCache>
                  <c:ptCount val="34"/>
                  <c:pt idx="0">
                    <c:v>-48%</c:v>
                  </c:pt>
                  <c:pt idx="1">
                    <c:v>-17%</c:v>
                  </c:pt>
                  <c:pt idx="2">
                    <c:v>-4%</c:v>
                  </c:pt>
                  <c:pt idx="3">
                    <c:v>-50%</c:v>
                  </c:pt>
                  <c:pt idx="4">
                    <c:v>-49%</c:v>
                  </c:pt>
                  <c:pt idx="5">
                    <c:v>-53%</c:v>
                  </c:pt>
                  <c:pt idx="6">
                    <c:v>-62%</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389379EE-4D12-4B65-9E02-53A15C0F8B3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4F05F195-50A5-4CEF-981B-5A1B5BF5278B}"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3DFEC427-17D7-4740-AA0B-1DE54EF7F24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4CCDF407-C6C8-4983-84B9-3C6AD3CF1CB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4C876FE-AC8B-4ACB-B82F-DFE22E08FE09}"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FAA6-4329-B317-C208EB4F28F6}"/>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FAA6-4329-B317-C208EB4F28F6}"/>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FAA6-4329-B317-C208EB4F28F6}"/>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FAA6-4329-B317-C208EB4F28F6}"/>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FAA6-4329-B317-C208EB4F28F6}"/>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FAA6-4329-B317-C208EB4F28F6}"/>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FAA6-4329-B317-C208EB4F28F6}"/>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FAA6-4329-B317-C208EB4F28F6}"/>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FAA6-4329-B317-C208EB4F28F6}"/>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FAA6-4329-B317-C208EB4F28F6}"/>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FAA6-4329-B317-C208EB4F28F6}"/>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FAA6-4329-B317-C208EB4F28F6}"/>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FAA6-4329-B317-C208EB4F28F6}"/>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FAA6-4329-B317-C208EB4F28F6}"/>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FAA6-4329-B317-C208EB4F28F6}"/>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FAA6-4329-B317-C208EB4F28F6}"/>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FAA6-4329-B317-C208EB4F28F6}"/>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FAA6-4329-B317-C208EB4F28F6}"/>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FAA6-4329-B317-C208EB4F28F6}"/>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FAA6-4329-B317-C208EB4F28F6}"/>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FAA6-4329-B317-C208EB4F28F6}"/>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FAA6-4329-B317-C208EB4F28F6}"/>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FAA6-4329-B317-C208EB4F28F6}"/>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FAA6-4329-B317-C208EB4F28F6}"/>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FAA6-4329-B317-C208EB4F28F6}"/>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FAA6-4329-B317-C208EB4F28F6}"/>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FAA6-4329-B317-C208EB4F28F6}"/>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FAA6-4329-B317-C208EB4F28F6}"/>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1.8189607584557541E-2</c:v>
                </c:pt>
                <c:pt idx="1">
                  <c:v>-1.3756115430091349E-3</c:v>
                </c:pt>
                <c:pt idx="2">
                  <c:v>5.434672947475043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2.3921077895456134E-3</c:v>
                </c:pt>
                <c:pt idx="1">
                  <c:v>-4.5114660656222272E-2</c:v>
                </c:pt>
                <c:pt idx="2">
                  <c:v>-2.3233649449771118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A'12</c:v>
                  </c:pt>
                  <c:pt idx="1">
                    <c:v>A'17</c:v>
                  </c:pt>
                  <c:pt idx="2">
                    <c:v>A'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F6F41907-9149-4EAE-8DCB-626C0B9DCBF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539FF3AF-FFF8-4AAD-B72D-DD0179BBA104}"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4F0D7302-DEB4-42E2-9F46-8413A0480C27}"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7EBA51F2-003A-43CC-8877-6D2023819E6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859ECAA4-BAF7-4231-801E-005637B85BDC}"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2065-47E4-9563-D14E848526FC}"/>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2065-47E4-9563-D14E848526FC}"/>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2065-47E4-9563-D14E848526FC}"/>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2065-47E4-9563-D14E848526FC}"/>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2065-47E4-9563-D14E848526FC}"/>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2065-47E4-9563-D14E848526FC}"/>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2065-47E4-9563-D14E848526FC}"/>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2065-47E4-9563-D14E848526FC}"/>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2065-47E4-9563-D14E848526FC}"/>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2065-47E4-9563-D14E848526FC}"/>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2065-47E4-9563-D14E848526FC}"/>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2065-47E4-9563-D14E848526FC}"/>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2065-47E4-9563-D14E848526FC}"/>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2065-47E4-9563-D14E848526FC}"/>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2065-47E4-9563-D14E848526FC}"/>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2065-47E4-9563-D14E848526FC}"/>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2065-47E4-9563-D14E848526FC}"/>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2065-47E4-9563-D14E848526FC}"/>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2065-47E4-9563-D14E848526FC}"/>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2065-47E4-9563-D14E848526FC}"/>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2065-47E4-9563-D14E848526FC}"/>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2065-47E4-9563-D14E848526FC}"/>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2065-47E4-9563-D14E848526FC}"/>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2065-47E4-9563-D14E848526FC}"/>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2065-47E4-9563-D14E848526FC}"/>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2065-47E4-9563-D14E848526FC}"/>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2065-47E4-9563-D14E848526FC}"/>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2065-47E4-9563-D14E848526F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29341043503587294</c:v>
                </c:pt>
                <c:pt idx="1">
                  <c:v>0.15689008932899795</c:v>
                </c:pt>
                <c:pt idx="2">
                  <c:v>5.434672947475043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5.1395384523402789E-2</c:v>
                </c:pt>
                <c:pt idx="1">
                  <c:v>-0.23447712695832096</c:v>
                </c:pt>
                <c:pt idx="2">
                  <c:v>-2.3233649449771118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A'12</c:v>
                  </c:pt>
                  <c:pt idx="1">
                    <c:v>A'17</c:v>
                  </c:pt>
                  <c:pt idx="2">
                    <c:v>A'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8418175606422961</c:v>
                </c:pt>
                <c:pt idx="1">
                  <c:v>6.5425350187905712E-2</c:v>
                </c:pt>
                <c:pt idx="2">
                  <c:v>8.302015715749915E-2</c:v>
                </c:pt>
                <c:pt idx="3">
                  <c:v>0.14998291766313632</c:v>
                </c:pt>
                <c:pt idx="4">
                  <c:v>9.3440382644345746E-2</c:v>
                </c:pt>
                <c:pt idx="5">
                  <c:v>0.15766996925179363</c:v>
                </c:pt>
                <c:pt idx="6">
                  <c:v>1.400751622822002E-2</c:v>
                </c:pt>
                <c:pt idx="7">
                  <c:v>0</c:v>
                </c:pt>
                <c:pt idx="8">
                  <c:v>1.417833959685685E-2</c:v>
                </c:pt>
                <c:pt idx="9">
                  <c:v>2.5623505295524428E-3</c:v>
                </c:pt>
                <c:pt idx="10">
                  <c:v>0</c:v>
                </c:pt>
                <c:pt idx="11">
                  <c:v>0</c:v>
                </c:pt>
                <c:pt idx="12">
                  <c:v>6.8329347454731807E-4</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30313331362695833</c:v>
                </c:pt>
                <c:pt idx="1">
                  <c:v>9.9172332249482714E-2</c:v>
                </c:pt>
                <c:pt idx="2">
                  <c:v>0.11809045226130653</c:v>
                </c:pt>
                <c:pt idx="3">
                  <c:v>0.21061188294413244</c:v>
                </c:pt>
                <c:pt idx="4">
                  <c:v>9.0747856931717413E-2</c:v>
                </c:pt>
                <c:pt idx="5">
                  <c:v>2.7046999704404374E-2</c:v>
                </c:pt>
                <c:pt idx="6">
                  <c:v>4.8625480342890923E-2</c:v>
                </c:pt>
                <c:pt idx="7">
                  <c:v>1.5370972509606859E-2</c:v>
                </c:pt>
                <c:pt idx="8">
                  <c:v>2.276086313922554E-2</c:v>
                </c:pt>
                <c:pt idx="9">
                  <c:v>6.5031037540644399E-3</c:v>
                </c:pt>
                <c:pt idx="10">
                  <c:v>0</c:v>
                </c:pt>
                <c:pt idx="11">
                  <c:v>0</c:v>
                </c:pt>
                <c:pt idx="12">
                  <c:v>1.9213715637008573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3257126320358848</c:v>
                </c:pt>
                <c:pt idx="1">
                  <c:v>0.12458399652727536</c:v>
                </c:pt>
                <c:pt idx="2">
                  <c:v>0.10027492403414846</c:v>
                </c:pt>
                <c:pt idx="3">
                  <c:v>0.16032412096657503</c:v>
                </c:pt>
                <c:pt idx="4">
                  <c:v>5.4695413109535525E-2</c:v>
                </c:pt>
                <c:pt idx="5">
                  <c:v>2.821588771523658E-2</c:v>
                </c:pt>
                <c:pt idx="6">
                  <c:v>2.6913615974533352E-2</c:v>
                </c:pt>
                <c:pt idx="7">
                  <c:v>4.5434814064534798E-2</c:v>
                </c:pt>
                <c:pt idx="8">
                  <c:v>3.0965128056721167E-2</c:v>
                </c:pt>
                <c:pt idx="9">
                  <c:v>5.7878744031254524E-3</c:v>
                </c:pt>
                <c:pt idx="10">
                  <c:v>1.5193170308204312E-2</c:v>
                </c:pt>
                <c:pt idx="11">
                  <c:v>2.6768919114455215E-2</c:v>
                </c:pt>
                <c:pt idx="12">
                  <c:v>5.787874403125452E-4</c:v>
                </c:pt>
                <c:pt idx="13">
                  <c:v>8.681811604688178E-4</c:v>
                </c:pt>
                <c:pt idx="14">
                  <c:v>1.1431051946172768E-2</c:v>
                </c:pt>
                <c:pt idx="15">
                  <c:v>2.5177253653595716E-2</c:v>
                </c:pt>
                <c:pt idx="16">
                  <c:v>8.681811604688178E-4</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1</c:v>
                </c:pt>
                <c:pt idx="1">
                  <c:v>0</c:v>
                </c:pt>
                <c:pt idx="2">
                  <c:v>4</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1</c:v>
                </c:pt>
                <c:pt idx="1">
                  <c:v>0</c:v>
                </c:pt>
                <c:pt idx="2">
                  <c:v>4</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4</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BSV</c:v>
                </c:pt>
                <c:pt idx="1">
                  <c:v>Gemeenschapsbelangen Alphen</c:v>
                </c:pt>
                <c:pt idx="2">
                  <c:v>Gemeentebelangen Galder, Strijbeek, Ulvenhout AC (GSU)</c:v>
                </c:pt>
              </c:strCache>
            </c:strRef>
          </c:cat>
          <c:val>
            <c:numRef>
              <c:f>Sheet1!$B$2:$B$9</c:f>
              <c:numCache>
                <c:formatCode>0</c:formatCode>
                <c:ptCount val="8"/>
                <c:pt idx="2">
                  <c:v>1</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BSV</c:v>
                </c:pt>
                <c:pt idx="1">
                  <c:v>Gemeenschapsbelangen Alphen</c:v>
                </c:pt>
                <c:pt idx="2">
                  <c:v>Gemeentebelangen Galder, Strijbeek, Ulvenhout AC (GSU)</c:v>
                </c:pt>
              </c:strCache>
            </c:str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2370F3E3-7825-4159-81B8-3FC8EE8D6AC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CC485A3B-FBEA-41F8-9038-33F226BDDC43}"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BSV</c:v>
                </c:pt>
                <c:pt idx="1">
                  <c:v>Gemeenschapsbelangen Alphen</c:v>
                </c:pt>
                <c:pt idx="2">
                  <c:v>Gemeentebelangen Galder, Strijbeek, Ulvenhout AC (GSU)</c:v>
                </c:pt>
              </c:strCache>
            </c:strRef>
          </c:cat>
          <c:val>
            <c:numRef>
              <c:f>Sheet1!$D$2:$D$9</c:f>
              <c:numCache>
                <c:formatCode>0</c:formatCode>
                <c:ptCount val="8"/>
                <c:pt idx="0">
                  <c:v>4</c:v>
                </c:pt>
                <c:pt idx="1">
                  <c:v>4</c:v>
                </c:pt>
                <c:pt idx="2">
                  <c:v>1</c:v>
                </c:pt>
              </c:numCache>
            </c:numRef>
          </c:val>
          <c:extLst>
            <c:ext xmlns:c15="http://schemas.microsoft.com/office/drawing/2012/chart" uri="{02D57815-91ED-43cb-92C2-25804820EDAC}">
              <c15:datalabelsRange>
                <c15:f>Sheet1!$D$2:$D$7</c15:f>
                <c15:dlblRangeCache>
                  <c:ptCount val="6"/>
                  <c:pt idx="0">
                    <c:v>4</c:v>
                  </c:pt>
                  <c:pt idx="1">
                    <c:v>4</c:v>
                  </c:pt>
                  <c:pt idx="2">
                    <c:v>1</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B$2:$B$3</c:f>
              <c:numCache>
                <c:formatCode>0%</c:formatCode>
                <c:ptCount val="2"/>
                <c:pt idx="0">
                  <c:v>0</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C$2:$C$3</c:f>
              <c:numCache>
                <c:formatCode>0%</c:formatCode>
                <c:ptCount val="2"/>
                <c:pt idx="0">
                  <c:v>0.64682539682539686</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D$2:$D$3</c:f>
              <c:numCache>
                <c:formatCode>0%</c:formatCode>
                <c:ptCount val="2"/>
                <c:pt idx="0">
                  <c:v>5.1587301587301584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phen-Chaam</c:v>
                </c:pt>
                <c:pt idx="1">
                  <c:v>Nederland</c:v>
                </c:pt>
              </c:strCache>
            </c:strRef>
          </c:cat>
          <c:val>
            <c:numRef>
              <c:f>Sheet1!$E$2:$E$3</c:f>
              <c:numCache>
                <c:formatCode>0%</c:formatCode>
                <c:ptCount val="2"/>
                <c:pt idx="0">
                  <c:v>0.30158730158730157</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8085110160548024</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0337826309503496</c:v>
                </c:pt>
                <c:pt idx="1">
                  <c:v>0.41399999999999998</c:v>
                </c:pt>
                <c:pt idx="2">
                  <c:v>0.6808511016054802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8085110160548024</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8085110160548024</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reda</c:v>
                </c:pt>
                <c:pt idx="1">
                  <c:v>Tilburg</c:v>
                </c:pt>
                <c:pt idx="2">
                  <c:v>Baarle-Nassau</c:v>
                </c:pt>
                <c:pt idx="3">
                  <c:v>Gilze en Rijen</c:v>
                </c:pt>
                <c:pt idx="4">
                  <c:v>Zundert</c:v>
                </c:pt>
                <c:pt idx="5">
                  <c:v>Eindhoven</c:v>
                </c:pt>
                <c:pt idx="6">
                  <c:v>Drimmelen</c:v>
                </c:pt>
                <c:pt idx="7">
                  <c:v>Dongen</c:v>
                </c:pt>
                <c:pt idx="8">
                  <c:v>Oosterhout</c:v>
                </c:pt>
                <c:pt idx="9">
                  <c:v>Rotterdam</c:v>
                </c:pt>
              </c:strCache>
            </c:strRef>
          </c:cat>
          <c:val>
            <c:numRef>
              <c:f>Sheet1!$B$2:$B$11</c:f>
              <c:numCache>
                <c:formatCode>General</c:formatCode>
                <c:ptCount val="10"/>
                <c:pt idx="0">
                  <c:v>130</c:v>
                </c:pt>
                <c:pt idx="1">
                  <c:v>60</c:v>
                </c:pt>
                <c:pt idx="2">
                  <c:v>40</c:v>
                </c:pt>
                <c:pt idx="3">
                  <c:v>18</c:v>
                </c:pt>
                <c:pt idx="4">
                  <c:v>16</c:v>
                </c:pt>
                <c:pt idx="5">
                  <c:v>14</c:v>
                </c:pt>
                <c:pt idx="6">
                  <c:v>13</c:v>
                </c:pt>
                <c:pt idx="7">
                  <c:v>10</c:v>
                </c:pt>
                <c:pt idx="8">
                  <c:v>8</c:v>
                </c:pt>
                <c:pt idx="9">
                  <c:v>8</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Breda</c:v>
                </c:pt>
                <c:pt idx="1">
                  <c:v>Tilburg</c:v>
                </c:pt>
                <c:pt idx="2">
                  <c:v>Baarle-Nassau</c:v>
                </c:pt>
                <c:pt idx="3">
                  <c:v>Gilze en Rijen</c:v>
                </c:pt>
                <c:pt idx="4">
                  <c:v>Zundert</c:v>
                </c:pt>
                <c:pt idx="5">
                  <c:v>Eindhoven</c:v>
                </c:pt>
                <c:pt idx="6">
                  <c:v>Drimmelen</c:v>
                </c:pt>
                <c:pt idx="7">
                  <c:v>Dongen</c:v>
                </c:pt>
                <c:pt idx="8">
                  <c:v>Oosterhout</c:v>
                </c:pt>
                <c:pt idx="9">
                  <c:v>Rotterdam</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reda</c:v>
                </c:pt>
                <c:pt idx="1">
                  <c:v>Baarle-Nassau</c:v>
                </c:pt>
                <c:pt idx="2">
                  <c:v>Tilburg</c:v>
                </c:pt>
                <c:pt idx="3">
                  <c:v>Oosterhout</c:v>
                </c:pt>
                <c:pt idx="4">
                  <c:v>Goirle</c:v>
                </c:pt>
                <c:pt idx="5">
                  <c:v>Gilze en Rijen</c:v>
                </c:pt>
                <c:pt idx="6">
                  <c:v>Rotterdam</c:v>
                </c:pt>
                <c:pt idx="7">
                  <c:v>Amsterdam</c:v>
                </c:pt>
                <c:pt idx="8">
                  <c:v>Zundert</c:v>
                </c:pt>
                <c:pt idx="9">
                  <c:v>Geertruidenberg</c:v>
                </c:pt>
              </c:strCache>
            </c:strRef>
          </c:cat>
          <c:val>
            <c:numRef>
              <c:f>Sheet1!$B$2:$B$11</c:f>
              <c:numCache>
                <c:formatCode>General</c:formatCode>
                <c:ptCount val="10"/>
                <c:pt idx="0">
                  <c:v>117</c:v>
                </c:pt>
                <c:pt idx="1">
                  <c:v>65</c:v>
                </c:pt>
                <c:pt idx="2">
                  <c:v>61</c:v>
                </c:pt>
                <c:pt idx="3">
                  <c:v>25</c:v>
                </c:pt>
                <c:pt idx="4">
                  <c:v>19</c:v>
                </c:pt>
                <c:pt idx="5">
                  <c:v>18</c:v>
                </c:pt>
                <c:pt idx="6">
                  <c:v>12</c:v>
                </c:pt>
                <c:pt idx="7">
                  <c:v>9</c:v>
                </c:pt>
                <c:pt idx="8">
                  <c:v>8</c:v>
                </c:pt>
                <c:pt idx="9">
                  <c:v>8</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Breda</c:v>
                </c:pt>
                <c:pt idx="1">
                  <c:v>Baarle-Nassau</c:v>
                </c:pt>
                <c:pt idx="2">
                  <c:v>Tilburg</c:v>
                </c:pt>
                <c:pt idx="3">
                  <c:v>Oosterhout</c:v>
                </c:pt>
                <c:pt idx="4">
                  <c:v>Goirle</c:v>
                </c:pt>
                <c:pt idx="5">
                  <c:v>Gilze en Rijen</c:v>
                </c:pt>
                <c:pt idx="6">
                  <c:v>Rotterdam</c:v>
                </c:pt>
                <c:pt idx="7">
                  <c:v>Amsterdam</c:v>
                </c:pt>
                <c:pt idx="8">
                  <c:v>Zundert</c:v>
                </c:pt>
                <c:pt idx="9">
                  <c:v>Geertruidenberg</c:v>
                </c:pt>
              </c:strCache>
            </c:strRef>
          </c:cat>
          <c:val>
            <c:numRef>
              <c:f>Sheet1!$C$2:$C$11</c:f>
              <c:numCache>
                <c:formatCode>General</c:formatCode>
                <c:ptCount val="10"/>
                <c:pt idx="0">
                  <c:v>13</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4</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6-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4"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8"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2"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6"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0"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4"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4"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9ADBAFF-5064-424F-8F4A-DDFAE624EDB2}"/>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7987669"/>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369815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8"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Alphen-Chaam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Alphen-Chaam</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1510545111"/>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578275488"/>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Alphen-Chaam vallen 28,0% van de huishoudens in de hoogste inkomensgroep (rijkste 20% van Nederland). Er zijn dus relatief veel rijken in Alphen-Chaam.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Alphen-Chaam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Alphen-Chaam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4"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Alphen-Chaam</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371</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2</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841</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8%</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819008865"/>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3075367254"/>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Alphen-Chaam</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47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47</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0%</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22%</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438536427"/>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469997156"/>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3%</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0,2%</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1844500319"/>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437467212"/>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Alphen-Chaam</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Alphen-Chaam</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Alphen-Chaam</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Alphen-Chaam</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Alphen-Chaam</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734</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2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42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03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3173416857"/>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3934077563"/>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27,6</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Vuurwapenmisdrijven(5), Heling() en Afpersing en afdreiging().</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28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42%</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2542348304"/>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991151579"/>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Alphen-Chaam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Alphen-Chaam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8"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Alphen-Chaam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Alphen-Chaam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Alphen-Chaam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3307896694"/>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2164717402"/>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Alphen-Chaam</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2"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Alphen-Chaam</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165</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5%</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3860401451"/>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Alphen-Chaam</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Alphen-Chaam</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13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3,4%</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2339979018"/>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1068941695"/>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2</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4,9%</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9%</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038887789"/>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0"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2"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4"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8"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70855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10.203</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743</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6</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840766295"/>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8%</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Alphen-Chaam</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2%</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4</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8</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18180901"/>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0"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Alphen-Chaam</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2962649876"/>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601466743"/>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Alphen-Chaam</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3600517161"/>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870419771"/>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5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Alphen-Chaam</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6% van de verhuizers naar Alphen-Chaam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82% van de verhuizers weg uit Alphen-Chaam</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3256910908"/>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070357883"/>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Alphen-Cha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Alphen-Chaam</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2.5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5.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48</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1753127167"/>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Alphen-Chaam</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4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rPr>
              <a:t>Verhuur en overige zakelijke dienst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dirty="0">
                <a:solidFill>
                  <a:srgbClr val="EC6224"/>
                </a:solidFill>
              </a:rPr>
              <a:t>+5.6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482%</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160166504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86803815"/>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830417615"/>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Alphen-Chaam</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9.6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7%</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025749841"/>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2741861884"/>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3133806957"/>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3641440003"/>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080734277"/>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8,9%</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8%</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2%</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Alphen-Chaam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0"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Alphen-Chaam</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3</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Alphen-Chaam</vt:lpstr>
      <vt:lpstr>PowerPoint Presentation</vt:lpstr>
      <vt:lpstr>Historische bevolkingsontwikkeling Alphen-Cha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2</cp:revision>
  <dcterms:created xsi:type="dcterms:W3CDTF">2020-10-22T09:20:51Z</dcterms:created>
  <dcterms:modified xsi:type="dcterms:W3CDTF">2021-11-16T17:05:25Z</dcterms:modified>
</cp:coreProperties>
</file>